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B0000"/>
    <a:srgbClr val="727272"/>
    <a:srgbClr val="BDBDBD"/>
    <a:srgbClr val="E5E5E5"/>
    <a:srgbClr val="D9D9D9"/>
    <a:srgbClr val="C60018"/>
    <a:srgbClr val="A20013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00D9B8AB-CDCA-48D4-8746-352E8040549C}"/>
    <pc:docChg chg="modSld">
      <pc:chgData name="Weigel Stefan (PAR-EPS)" userId="fd3b2067-2981-4ad8-bf3a-d2e1004e4fa8" providerId="ADAL" clId="{00D9B8AB-CDCA-48D4-8746-352E8040549C}" dt="2024-04-08T14:36:12.739" v="29" actId="20577"/>
      <pc:docMkLst>
        <pc:docMk/>
      </pc:docMkLst>
      <pc:sldChg chg="modSp mod">
        <pc:chgData name="Weigel Stefan (PAR-EPS)" userId="fd3b2067-2981-4ad8-bf3a-d2e1004e4fa8" providerId="ADAL" clId="{00D9B8AB-CDCA-48D4-8746-352E8040549C}" dt="2024-04-08T14:36:12.739" v="29" actId="20577"/>
        <pc:sldMkLst>
          <pc:docMk/>
          <pc:sldMk cId="2131180641" sldId="398"/>
        </pc:sldMkLst>
        <pc:spChg chg="mod">
          <ac:chgData name="Weigel Stefan (PAR-EPS)" userId="fd3b2067-2981-4ad8-bf3a-d2e1004e4fa8" providerId="ADAL" clId="{00D9B8AB-CDCA-48D4-8746-352E8040549C}" dt="2024-04-08T14:32:31.474" v="0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0D9B8AB-CDCA-48D4-8746-352E8040549C}" dt="2024-04-08T14:32:42.946" v="1" actId="1076"/>
          <ac:spMkLst>
            <pc:docMk/>
            <pc:sldMk cId="2131180641" sldId="398"/>
            <ac:spMk id="3" creationId="{3CE2534E-B1A7-A9E6-615D-864B28F50FD4}"/>
          </ac:spMkLst>
        </pc:spChg>
        <pc:spChg chg="mod">
          <ac:chgData name="Weigel Stefan (PAR-EPS)" userId="fd3b2067-2981-4ad8-bf3a-d2e1004e4fa8" providerId="ADAL" clId="{00D9B8AB-CDCA-48D4-8746-352E8040549C}" dt="2024-04-08T14:36:12.739" v="29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00D9B8AB-CDCA-48D4-8746-352E8040549C}" dt="2024-04-08T14:34:38.892" v="25" actId="14100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09165AF7-A8BA-445B-A53F-133721185368}"/>
    <pc:docChg chg="modSld">
      <pc:chgData name="Weigel Stefan (PAR-EPS)" userId="fd3b2067-2981-4ad8-bf3a-d2e1004e4fa8" providerId="ADAL" clId="{09165AF7-A8BA-445B-A53F-133721185368}" dt="2024-04-08T14:21:36.322" v="13" actId="692"/>
      <pc:docMkLst>
        <pc:docMk/>
      </pc:docMkLst>
      <pc:sldChg chg="modSp mod">
        <pc:chgData name="Weigel Stefan (PAR-EPS)" userId="fd3b2067-2981-4ad8-bf3a-d2e1004e4fa8" providerId="ADAL" clId="{09165AF7-A8BA-445B-A53F-133721185368}" dt="2024-04-08T14:21:36.322" v="13" actId="692"/>
        <pc:sldMkLst>
          <pc:docMk/>
          <pc:sldMk cId="2131180641" sldId="398"/>
        </pc:sldMkLst>
        <pc:spChg chg="mod">
          <ac:chgData name="Weigel Stefan (PAR-EPS)" userId="fd3b2067-2981-4ad8-bf3a-d2e1004e4fa8" providerId="ADAL" clId="{09165AF7-A8BA-445B-A53F-133721185368}" dt="2024-04-08T14:21:14.261" v="11" actId="207"/>
          <ac:spMkLst>
            <pc:docMk/>
            <pc:sldMk cId="2131180641" sldId="398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09165AF7-A8BA-445B-A53F-133721185368}" dt="2024-04-08T14:21:02.428" v="8" actId="20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09165AF7-A8BA-445B-A53F-133721185368}" dt="2024-04-08T14:21:36.322" v="13" actId="692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C7C17A06-45F8-44D6-A3D2-61CBF8B375EB}"/>
    <pc:docChg chg="modSld">
      <pc:chgData name="Weigel Stefan (PAR-EPS)" userId="fd3b2067-2981-4ad8-bf3a-d2e1004e4fa8" providerId="ADAL" clId="{C7C17A06-45F8-44D6-A3D2-61CBF8B375EB}" dt="2025-02-22T13:12:12.364" v="16"/>
      <pc:docMkLst>
        <pc:docMk/>
      </pc:docMkLst>
      <pc:sldChg chg="modSp mod">
        <pc:chgData name="Weigel Stefan (PAR-EPS)" userId="fd3b2067-2981-4ad8-bf3a-d2e1004e4fa8" providerId="ADAL" clId="{C7C17A06-45F8-44D6-A3D2-61CBF8B375EB}" dt="2025-02-22T13:12:12.364" v="16"/>
        <pc:sldMkLst>
          <pc:docMk/>
          <pc:sldMk cId="2131180641" sldId="398"/>
        </pc:sldMkLst>
        <pc:graphicFrameChg chg="mod">
          <ac:chgData name="Weigel Stefan (PAR-EPS)" userId="fd3b2067-2981-4ad8-bf3a-d2e1004e4fa8" providerId="ADAL" clId="{C7C17A06-45F8-44D6-A3D2-61CBF8B375EB}" dt="2025-02-22T13:12:12.364" v="16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810C6EF1-EA83-478C-B718-48AC6185A4A4}"/>
    <pc:docChg chg="undo custSel modSld">
      <pc:chgData name="Weigel Stefan (PAR-EPS)" userId="fd3b2067-2981-4ad8-bf3a-d2e1004e4fa8" providerId="ADAL" clId="{810C6EF1-EA83-478C-B718-48AC6185A4A4}" dt="2024-02-01T11:36:41.975" v="210" actId="27918"/>
      <pc:docMkLst>
        <pc:docMk/>
      </pc:docMkLst>
      <pc:sldChg chg="modSp mod">
        <pc:chgData name="Weigel Stefan (PAR-EPS)" userId="fd3b2067-2981-4ad8-bf3a-d2e1004e4fa8" providerId="ADAL" clId="{810C6EF1-EA83-478C-B718-48AC6185A4A4}" dt="2024-02-01T11:36:41.975" v="210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810C6EF1-EA83-478C-B718-48AC6185A4A4}" dt="2024-01-24T09:59:46.474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10C6EF1-EA83-478C-B718-48AC6185A4A4}" dt="2024-01-24T10:10:44.450" v="68" actId="255"/>
          <ac:spMkLst>
            <pc:docMk/>
            <pc:sldMk cId="2131180641" sldId="398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810C6EF1-EA83-478C-B718-48AC6185A4A4}" dt="2024-01-31T15:27:58.412" v="134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810C6EF1-EA83-478C-B718-48AC6185A4A4}" dt="2024-01-24T10:54:32.821" v="114" actId="255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06A1572-1FE7-4EB6-8B8E-A8E87FD424AD}"/>
    <pc:docChg chg="modSld">
      <pc:chgData name="Meyer Raphael (PAR-ES)" userId="79615dfe-ed48-4e74-a40f-4f7b034c1c27" providerId="ADAL" clId="{906A1572-1FE7-4EB6-8B8E-A8E87FD424AD}" dt="2022-03-10T10:16:26.959" v="1" actId="27918"/>
      <pc:docMkLst>
        <pc:docMk/>
      </pc:docMkLst>
      <pc:sldChg chg="mod">
        <pc:chgData name="Meyer Raphael (PAR-ES)" userId="79615dfe-ed48-4e74-a40f-4f7b034c1c27" providerId="ADAL" clId="{906A1572-1FE7-4EB6-8B8E-A8E87FD424AD}" dt="2022-03-10T10:16:26.959" v="1" actId="27918"/>
        <pc:sldMkLst>
          <pc:docMk/>
          <pc:sldMk cId="2131180641" sldId="398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E81D83F-6387-47FC-87B5-C4DA51A825E8}"/>
    <pc:docChg chg="custSel addSld delSld modSld sldOrd">
      <pc:chgData name="Meyer Raphael (PAR-ES)" userId="79615dfe-ed48-4e74-a40f-4f7b034c1c27" providerId="ADAL" clId="{EE81D83F-6387-47FC-87B5-C4DA51A825E8}" dt="2022-01-13T08:32:30.901" v="85" actId="47"/>
      <pc:docMkLst>
        <pc:docMk/>
      </pc:docMkLst>
      <pc:sldChg chg="del">
        <pc:chgData name="Meyer Raphael (PAR-ES)" userId="79615dfe-ed48-4e74-a40f-4f7b034c1c27" providerId="ADAL" clId="{EE81D83F-6387-47FC-87B5-C4DA51A825E8}" dt="2022-01-13T08:32:30.901" v="85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EE81D83F-6387-47FC-87B5-C4DA51A825E8}" dt="2022-01-13T08:32:30.901" v="85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E81D83F-6387-47FC-87B5-C4DA51A825E8}" dt="2022-01-13T08:32:09.729" v="83"/>
        <pc:sldMkLst>
          <pc:docMk/>
          <pc:sldMk cId="2131180641" sldId="398"/>
        </pc:sldMkLst>
        <pc:graphicFrameChg chg="mod">
          <ac:chgData name="Meyer Raphael (PAR-ES)" userId="79615dfe-ed48-4e74-a40f-4f7b034c1c27" providerId="ADAL" clId="{EE81D83F-6387-47FC-87B5-C4DA51A825E8}" dt="2022-01-13T08:32:09.729" v="83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  <pc:sldChg chg="modSp 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338060280" sldId="399"/>
        </pc:sldMkLst>
        <pc:graphicFrameChg chg="mod">
          <ac:chgData name="Meyer Raphael (PAR-ES)" userId="79615dfe-ed48-4e74-a40f-4f7b034c1c27" providerId="ADAL" clId="{EE81D83F-6387-47FC-87B5-C4DA51A825E8}" dt="2022-01-13T08:20:26.145" v="35"/>
          <ac:graphicFrameMkLst>
            <pc:docMk/>
            <pc:sldMk cId="3338060280" sldId="399"/>
            <ac:graphicFrameMk id="8" creationId="{6973129B-3766-41C3-BD0F-FBF7F523AB4F}"/>
          </ac:graphicFrameMkLst>
        </pc:graphicFrameChg>
      </pc:sldChg>
      <pc:sldChg chg="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739925742" sldId="400"/>
        </pc:sldMkLst>
      </pc:sldChg>
      <pc:sldChg chg="del">
        <pc:chgData name="Meyer Raphael (PAR-ES)" userId="79615dfe-ed48-4e74-a40f-4f7b034c1c27" providerId="ADAL" clId="{EE81D83F-6387-47FC-87B5-C4DA51A825E8}" dt="2022-01-13T08:22:55.518" v="41" actId="47"/>
        <pc:sldMkLst>
          <pc:docMk/>
          <pc:sldMk cId="3006792721" sldId="401"/>
        </pc:sldMkLst>
      </pc:sldChg>
      <pc:sldChg chg="modSp add mod ord">
        <pc:chgData name="Meyer Raphael (PAR-ES)" userId="79615dfe-ed48-4e74-a40f-4f7b034c1c27" providerId="ADAL" clId="{EE81D83F-6387-47FC-87B5-C4DA51A825E8}" dt="2022-01-13T08:32:18.116" v="84"/>
        <pc:sldMkLst>
          <pc:docMk/>
          <pc:sldMk cId="1202405408" sldId="402"/>
        </pc:sldMkLst>
        <pc:spChg chg="mod">
          <ac:chgData name="Meyer Raphael (PAR-ES)" userId="79615dfe-ed48-4e74-a40f-4f7b034c1c27" providerId="ADAL" clId="{EE81D83F-6387-47FC-87B5-C4DA51A825E8}" dt="2022-01-13T08:23:20.431" v="46"/>
          <ac:spMkLst>
            <pc:docMk/>
            <pc:sldMk cId="1202405408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23:46.954" v="47"/>
          <ac:spMkLst>
            <pc:docMk/>
            <pc:sldMk cId="1202405408" sldId="402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EE81D83F-6387-47FC-87B5-C4DA51A825E8}" dt="2022-01-13T08:32:18.116" v="84"/>
          <ac:graphicFrameMkLst>
            <pc:docMk/>
            <pc:sldMk cId="1202405408" sldId="402"/>
            <ac:graphicFrameMk id="8" creationId="{6973129B-3766-41C3-BD0F-FBF7F523AB4F}"/>
          </ac:graphicFrameMkLst>
        </pc:graphicFrameChg>
      </pc:sldChg>
      <pc:sldChg chg="add del mod">
        <pc:chgData name="Meyer Raphael (PAR-ES)" userId="79615dfe-ed48-4e74-a40f-4f7b034c1c27" providerId="ADAL" clId="{EE81D83F-6387-47FC-87B5-C4DA51A825E8}" dt="2022-01-13T08:17:23.238" v="17" actId="47"/>
        <pc:sldMkLst>
          <pc:docMk/>
          <pc:sldMk cId="3330701994" sldId="402"/>
        </pc:sldMkLst>
      </pc:sldChg>
      <pc:sldChg chg="modSp add mod">
        <pc:chgData name="Meyer Raphael (PAR-ES)" userId="79615dfe-ed48-4e74-a40f-4f7b034c1c27" providerId="ADAL" clId="{EE81D83F-6387-47FC-87B5-C4DA51A825E8}" dt="2022-01-13T08:30:24.543" v="75" actId="27918"/>
        <pc:sldMkLst>
          <pc:docMk/>
          <pc:sldMk cId="1131589857" sldId="403"/>
        </pc:sldMkLst>
        <pc:spChg chg="mod">
          <ac:chgData name="Meyer Raphael (PAR-ES)" userId="79615dfe-ed48-4e74-a40f-4f7b034c1c27" providerId="ADAL" clId="{EE81D83F-6387-47FC-87B5-C4DA51A825E8}" dt="2022-01-13T08:27:17.756" v="54"/>
          <ac:spMkLst>
            <pc:docMk/>
            <pc:sldMk cId="1131589857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27:57.179" v="61" actId="20577"/>
          <ac:spMkLst>
            <pc:docMk/>
            <pc:sldMk cId="1131589857" sldId="403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E81D83F-6387-47FC-87B5-C4DA51A825E8}" dt="2022-01-13T08:27:43.209" v="55"/>
          <ac:spMkLst>
            <pc:docMk/>
            <pc:sldMk cId="1131589857" sldId="403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EE81D83F-6387-47FC-87B5-C4DA51A825E8}" dt="2022-01-13T08:30:17.403" v="74"/>
        <pc:sldMkLst>
          <pc:docMk/>
          <pc:sldMk cId="901103537" sldId="404"/>
        </pc:sldMkLst>
        <pc:spChg chg="mod">
          <ac:chgData name="Meyer Raphael (PAR-ES)" userId="79615dfe-ed48-4e74-a40f-4f7b034c1c27" providerId="ADAL" clId="{EE81D83F-6387-47FC-87B5-C4DA51A825E8}" dt="2022-01-13T08:28:59.511" v="62"/>
          <ac:spMkLst>
            <pc:docMk/>
            <pc:sldMk cId="901103537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81D83F-6387-47FC-87B5-C4DA51A825E8}" dt="2022-01-13T08:30:05.511" v="73" actId="20577"/>
          <ac:spMkLst>
            <pc:docMk/>
            <pc:sldMk cId="901103537" sldId="404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E81D83F-6387-47FC-87B5-C4DA51A825E8}" dt="2022-01-13T08:30:17.403" v="74"/>
          <ac:spMkLst>
            <pc:docMk/>
            <pc:sldMk cId="901103537" sldId="404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E1C5CC1-93D7-48AD-AA26-26A247E44800}"/>
    <pc:docChg chg="delSld">
      <pc:chgData name="Meyer Raphael (PAR-ES)" userId="79615dfe-ed48-4e74-a40f-4f7b034c1c27" providerId="ADAL" clId="{1E1C5CC1-93D7-48AD-AA26-26A247E44800}" dt="2022-01-17T15:09:04.684" v="0" actId="47"/>
      <pc:docMkLst>
        <pc:docMk/>
      </pc:docMkLst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1202405408" sldId="402"/>
        </pc:sldMkLst>
      </pc:sldChg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1131589857" sldId="403"/>
        </pc:sldMkLst>
      </pc:sldChg>
      <pc:sldChg chg="del">
        <pc:chgData name="Meyer Raphael (PAR-ES)" userId="79615dfe-ed48-4e74-a40f-4f7b034c1c27" providerId="ADAL" clId="{1E1C5CC1-93D7-48AD-AA26-26A247E44800}" dt="2022-01-17T15:09:04.684" v="0" actId="47"/>
        <pc:sldMkLst>
          <pc:docMk/>
          <pc:sldMk cId="901103537" sldId="404"/>
        </pc:sldMkLst>
      </pc:sldChg>
    </pc:docChg>
  </pc:docChgLst>
  <pc:docChgLst>
    <pc:chgData name="Meyer Raphael (PAR-ES)" userId="79615dfe-ed48-4e74-a40f-4f7b034c1c27" providerId="ADAL" clId="{85A5D077-E3D3-407F-A656-E46B28D7C20D}"/>
    <pc:docChg chg="addSld delSld modSld">
      <pc:chgData name="Meyer Raphael (PAR-ES)" userId="79615dfe-ed48-4e74-a40f-4f7b034c1c27" providerId="ADAL" clId="{85A5D077-E3D3-407F-A656-E46B28D7C20D}" dt="2022-01-12T16:16:32.452" v="24" actId="14100"/>
      <pc:docMkLst>
        <pc:docMk/>
      </pc:docMkLst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85A5D077-E3D3-407F-A656-E46B28D7C20D}" dt="2022-01-12T16:11:50.867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85A5D077-E3D3-407F-A656-E46B28D7C20D}" dt="2022-01-12T16:11:56.518" v="1" actId="47"/>
        <pc:sldMkLst>
          <pc:docMk/>
          <pc:sldMk cId="825719232" sldId="397"/>
        </pc:sldMkLst>
      </pc:sldChg>
      <pc:sldChg chg="modSp add mod">
        <pc:chgData name="Meyer Raphael (PAR-ES)" userId="79615dfe-ed48-4e74-a40f-4f7b034c1c27" providerId="ADAL" clId="{85A5D077-E3D3-407F-A656-E46B28D7C20D}" dt="2022-01-12T16:16:32.452" v="24" actId="14100"/>
        <pc:sldMkLst>
          <pc:docMk/>
          <pc:sldMk cId="3338060280" sldId="399"/>
        </pc:sldMkLst>
        <pc:spChg chg="mod">
          <ac:chgData name="Meyer Raphael (PAR-ES)" userId="79615dfe-ed48-4e74-a40f-4f7b034c1c27" providerId="ADAL" clId="{85A5D077-E3D3-407F-A656-E46B28D7C20D}" dt="2022-01-12T16:12:42.758" v="5"/>
          <ac:spMkLst>
            <pc:docMk/>
            <pc:sldMk cId="3338060280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5A5D077-E3D3-407F-A656-E46B28D7C20D}" dt="2022-01-12T16:13:26.858" v="6"/>
          <ac:spMkLst>
            <pc:docMk/>
            <pc:sldMk cId="3338060280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85A5D077-E3D3-407F-A656-E46B28D7C20D}" dt="2022-01-12T16:16:32.452" v="24" actId="14100"/>
          <ac:graphicFrameMkLst>
            <pc:docMk/>
            <pc:sldMk cId="3338060280" sldId="399"/>
            <ac:graphicFrameMk id="8" creationId="{6973129B-3766-41C3-BD0F-FBF7F523AB4F}"/>
          </ac:graphicFrameMkLst>
        </pc:graphicFrameChg>
      </pc:sldChg>
      <pc:sldChg chg="add">
        <pc:chgData name="Meyer Raphael (PAR-ES)" userId="79615dfe-ed48-4e74-a40f-4f7b034c1c27" providerId="ADAL" clId="{85A5D077-E3D3-407F-A656-E46B28D7C20D}" dt="2022-01-12T16:12:09.524" v="3" actId="2890"/>
        <pc:sldMkLst>
          <pc:docMk/>
          <pc:sldMk cId="3739925742" sldId="400"/>
        </pc:sldMkLst>
      </pc:sldChg>
      <pc:sldChg chg="add">
        <pc:chgData name="Meyer Raphael (PAR-ES)" userId="79615dfe-ed48-4e74-a40f-4f7b034c1c27" providerId="ADAL" clId="{85A5D077-E3D3-407F-A656-E46B28D7C20D}" dt="2022-01-12T16:12:11.780" v="4" actId="2890"/>
        <pc:sldMkLst>
          <pc:docMk/>
          <pc:sldMk cId="3006792721" sldId="401"/>
        </pc:sldMkLst>
      </pc:sldChg>
      <pc:sldMasterChg chg="delSldLayout">
        <pc:chgData name="Meyer Raphael (PAR-ES)" userId="79615dfe-ed48-4e74-a40f-4f7b034c1c27" providerId="ADAL" clId="{85A5D077-E3D3-407F-A656-E46B28D7C20D}" dt="2022-01-12T16:11:56.518" v="1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85A5D077-E3D3-407F-A656-E46B28D7C20D}" dt="2022-01-12T16:11:56.518" v="1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S)" userId="fd3b2067-2981-4ad8-bf3a-d2e1004e4fa8" providerId="ADAL" clId="{E0B3D03F-603B-4897-97C6-4F0F4F5B92E4}"/>
    <pc:docChg chg="modSld modNotesMaster">
      <pc:chgData name="Weigel Stefan (PAR-ES)" userId="fd3b2067-2981-4ad8-bf3a-d2e1004e4fa8" providerId="ADAL" clId="{E0B3D03F-603B-4897-97C6-4F0F4F5B92E4}" dt="2023-01-30T17:26:59.570" v="39"/>
      <pc:docMkLst>
        <pc:docMk/>
      </pc:docMkLst>
      <pc:sldChg chg="addSp modSp mod">
        <pc:chgData name="Weigel Stefan (PAR-ES)" userId="fd3b2067-2981-4ad8-bf3a-d2e1004e4fa8" providerId="ADAL" clId="{E0B3D03F-603B-4897-97C6-4F0F4F5B92E4}" dt="2023-01-30T17:26:59.570" v="39"/>
        <pc:sldMkLst>
          <pc:docMk/>
          <pc:sldMk cId="2131180641" sldId="398"/>
        </pc:sldMkLst>
        <pc:spChg chg="mod">
          <ac:chgData name="Weigel Stefan (PAR-ES)" userId="fd3b2067-2981-4ad8-bf3a-d2e1004e4fa8" providerId="ADAL" clId="{E0B3D03F-603B-4897-97C6-4F0F4F5B92E4}" dt="2023-01-30T17:08:15.042" v="1" actId="20577"/>
          <ac:spMkLst>
            <pc:docMk/>
            <pc:sldMk cId="2131180641" sldId="398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E0B3D03F-603B-4897-97C6-4F0F4F5B92E4}" dt="2023-01-30T17:26:59.570" v="39"/>
          <ac:spMkLst>
            <pc:docMk/>
            <pc:sldMk cId="2131180641" sldId="398"/>
            <ac:spMk id="3" creationId="{3CE2534E-B1A7-A9E6-615D-864B28F50FD4}"/>
          </ac:spMkLst>
        </pc:spChg>
        <pc:spChg chg="mod">
          <ac:chgData name="Weigel Stefan (PAR-ES)" userId="fd3b2067-2981-4ad8-bf3a-d2e1004e4fa8" providerId="ADAL" clId="{E0B3D03F-603B-4897-97C6-4F0F4F5B92E4}" dt="2023-01-30T17:09:22.533" v="17" actId="20577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E0B3D03F-603B-4897-97C6-4F0F4F5B92E4}" dt="2023-01-30T17:10:08.345" v="20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Weigel Stefan (PAR-ES)" userId="fd3b2067-2981-4ad8-bf3a-d2e1004e4fa8" providerId="ADAL" clId="{194499B3-4FA6-4061-9072-125C677E7722}"/>
    <pc:docChg chg="modSld">
      <pc:chgData name="Weigel Stefan (PAR-ES)" userId="fd3b2067-2981-4ad8-bf3a-d2e1004e4fa8" providerId="ADAL" clId="{194499B3-4FA6-4061-9072-125C677E7722}" dt="2022-01-20T18:00:57.880" v="29" actId="20577"/>
      <pc:docMkLst>
        <pc:docMk/>
      </pc:docMkLst>
      <pc:sldChg chg="modSp mod">
        <pc:chgData name="Weigel Stefan (PAR-ES)" userId="fd3b2067-2981-4ad8-bf3a-d2e1004e4fa8" providerId="ADAL" clId="{194499B3-4FA6-4061-9072-125C677E7722}" dt="2022-01-20T18:00:57.880" v="29" actId="20577"/>
        <pc:sldMkLst>
          <pc:docMk/>
          <pc:sldMk cId="2131180641" sldId="398"/>
        </pc:sldMkLst>
        <pc:spChg chg="mod">
          <ac:chgData name="Weigel Stefan (PAR-ES)" userId="fd3b2067-2981-4ad8-bf3a-d2e1004e4fa8" providerId="ADAL" clId="{194499B3-4FA6-4061-9072-125C677E7722}" dt="2022-01-20T18:00:57.880" v="29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194499B3-4FA6-4061-9072-125C677E7722}" dt="2022-01-20T18:00:54.178" v="27" actId="20577"/>
          <ac:spMkLst>
            <pc:docMk/>
            <pc:sldMk cId="2131180641" sldId="398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8E7B746F-7091-46F2-94AA-C83272C11A68}"/>
    <pc:docChg chg="modSld">
      <pc:chgData name="Weigel Stefan (PAR-EPS)" userId="fd3b2067-2981-4ad8-bf3a-d2e1004e4fa8" providerId="ADAL" clId="{8E7B746F-7091-46F2-94AA-C83272C11A68}" dt="2025-02-21T09:39:29.396" v="29" actId="27918"/>
      <pc:docMkLst>
        <pc:docMk/>
      </pc:docMkLst>
      <pc:sldChg chg="modSp mod">
        <pc:chgData name="Weigel Stefan (PAR-EPS)" userId="fd3b2067-2981-4ad8-bf3a-d2e1004e4fa8" providerId="ADAL" clId="{8E7B746F-7091-46F2-94AA-C83272C11A68}" dt="2025-02-21T09:39:29.396" v="29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8E7B746F-7091-46F2-94AA-C83272C11A68}" dt="2025-02-21T09:37:23.052" v="1" actId="20577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E7B746F-7091-46F2-94AA-C83272C11A68}" dt="2025-02-21T09:37:57.630" v="19" actId="6549"/>
          <ac:spMkLst>
            <pc:docMk/>
            <pc:sldMk cId="2131180641" sldId="398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96251773213156"/>
          <c:y val="7.2554788676106846E-2"/>
          <c:w val="0.68223282458276935"/>
          <c:h val="0.772292105462125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vizzera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0</c:f>
              <c:strCache>
                <c:ptCount val="8"/>
                <c:pt idx="0">
                  <c:v>Impianti</c:v>
                </c:pt>
                <c:pt idx="1">
                  <c:v>Energia e impianti per la fornitura di energia</c:v>
                </c:pt>
                <c:pt idx="2">
                  <c:v>Edilizia del soprassuolo</c:v>
                </c:pt>
                <c:pt idx="3">
                  <c:v>Non assegnato</c:v>
                </c:pt>
                <c:pt idx="4">
                  <c:v>ICT e materiale</c:v>
                </c:pt>
                <c:pt idx="5">
                  <c:v>Servizi</c:v>
                </c:pt>
                <c:pt idx="6">
                  <c:v>Veicoli</c:v>
                </c:pt>
                <c:pt idx="7">
                  <c:v>Genio civile</c:v>
                </c:pt>
              </c:strCache>
            </c:strRef>
          </c:cat>
          <c:val>
            <c:numRef>
              <c:f>data!$H$3:$H$10</c:f>
              <c:numCache>
                <c:formatCode>#,##0.00</c:formatCode>
                <c:ptCount val="8"/>
                <c:pt idx="0">
                  <c:v>0.31349202969999901</c:v>
                </c:pt>
                <c:pt idx="1">
                  <c:v>0.31344334757000003</c:v>
                </c:pt>
                <c:pt idx="2">
                  <c:v>0.40167851613</c:v>
                </c:pt>
                <c:pt idx="3">
                  <c:v>0.41474562457999797</c:v>
                </c:pt>
                <c:pt idx="4">
                  <c:v>0.655209899809999</c:v>
                </c:pt>
                <c:pt idx="5">
                  <c:v>0.86975615885999902</c:v>
                </c:pt>
                <c:pt idx="6">
                  <c:v>0.99190862616000008</c:v>
                </c:pt>
                <c:pt idx="7">
                  <c:v>1.59811778729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Ester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</c:spPr>
          <c:invertIfNegative val="0"/>
          <c:cat>
            <c:strRef>
              <c:f>data!$G$3:$G$10</c:f>
              <c:strCache>
                <c:ptCount val="8"/>
                <c:pt idx="0">
                  <c:v>Impianti</c:v>
                </c:pt>
                <c:pt idx="1">
                  <c:v>Energia e impianti per la fornitura di energia</c:v>
                </c:pt>
                <c:pt idx="2">
                  <c:v>Edilizia del soprassuolo</c:v>
                </c:pt>
                <c:pt idx="3">
                  <c:v>Non assegnato</c:v>
                </c:pt>
                <c:pt idx="4">
                  <c:v>ICT e materiale</c:v>
                </c:pt>
                <c:pt idx="5">
                  <c:v>Servizi</c:v>
                </c:pt>
                <c:pt idx="6">
                  <c:v>Veicoli</c:v>
                </c:pt>
                <c:pt idx="7">
                  <c:v>Genio civile</c:v>
                </c:pt>
              </c:strCache>
            </c:strRef>
          </c:cat>
          <c:val>
            <c:numRef>
              <c:f>data!$I$3:$I$10</c:f>
              <c:numCache>
                <c:formatCode>#,##0.00</c:formatCode>
                <c:ptCount val="8"/>
                <c:pt idx="0">
                  <c:v>5.8654730660000001E-2</c:v>
                </c:pt>
                <c:pt idx="1">
                  <c:v>7.0197595789999997E-2</c:v>
                </c:pt>
                <c:pt idx="2">
                  <c:v>2.2845734000000004E-3</c:v>
                </c:pt>
                <c:pt idx="3">
                  <c:v>1.932106775E-2</c:v>
                </c:pt>
                <c:pt idx="4">
                  <c:v>8.9940276380000003E-2</c:v>
                </c:pt>
                <c:pt idx="5">
                  <c:v>7.5051500869999996E-2</c:v>
                </c:pt>
                <c:pt idx="6">
                  <c:v>0.20296823006</c:v>
                </c:pt>
                <c:pt idx="7">
                  <c:v>9.281599064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 rot="0" vert="horz" anchor="b" anchorCtr="0"/>
          <a:lstStyle/>
          <a:p>
            <a:pPr algn="just"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996</cdr:x>
      <cdr:y>0</cdr:y>
    </cdr:from>
    <cdr:to>
      <cdr:x>0.9807</cdr:x>
      <cdr:y>0.05227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291678" y="0"/>
          <a:ext cx="747501" cy="24196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/>
            <a:t>Mia di CHF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Le FFS in qualità di committente nel 2024.</a:t>
            </a:r>
            <a:br>
              <a:rPr lang="it-IT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/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449585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100" dirty="0">
                <a:solidFill>
                  <a:schemeClr val="tx2"/>
                </a:solidFill>
                <a:latin typeface="+mj-lt"/>
                <a:cs typeface="Arial" pitchFamily="34" charset="0"/>
              </a:rPr>
              <a:t>Volume degli acquisti nel 2024 in mia di CHF. Totale CHF 6,17 mia, di cui il 90% assegnato a fornitori con sede in Svizzera. 14 488 fornitori, di cui il 90% con sede in Svizzera (si è tenuto conto solo degli emittenti di fatture con un volume d’acquisto superiore a CHF 2000).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8353140" y="314319"/>
            <a:ext cx="747568" cy="24198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95E678AD-CD85-40A3-ACD6-BC5973E1BE8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2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Le FFS in qualità di committente nel 2024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 FFS in qualità di committente nel 2024._x000b_</dc:title>
  <dc:creator>Meyer Raphael (KOM-PGA-VSF)</dc:creator>
  <cp:lastModifiedBy>Stefan Weigel (PAR-EPS)</cp:lastModifiedBy>
  <cp:revision>2</cp:revision>
  <cp:lastPrinted>2024-01-31T15:32:42Z</cp:lastPrinted>
  <dcterms:created xsi:type="dcterms:W3CDTF">2020-09-30T11:00:09Z</dcterms:created>
  <dcterms:modified xsi:type="dcterms:W3CDTF">2025-02-24T12:56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